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707" r:id="rId6"/>
  </p:sldMasterIdLst>
  <p:notesMasterIdLst>
    <p:notesMasterId r:id="rId9"/>
  </p:notesMasterIdLst>
  <p:sldIdLst>
    <p:sldId id="2134805478" r:id="rId7"/>
    <p:sldId id="2145707184" r:id="rId8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14DB47-AF1B-46C5-99F6-F4D12F28B057}" v="119" dt="2024-04-25T10:44:20.6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ian Bąkowski" userId="148b5550-951f-4469-a424-8c0f930d3d0a" providerId="ADAL" clId="{E614DB47-AF1B-46C5-99F6-F4D12F28B057}"/>
    <pc:docChg chg="undo custSel addSld delSld modSld sldOrd">
      <pc:chgData name="Damian Bąkowski" userId="148b5550-951f-4469-a424-8c0f930d3d0a" providerId="ADAL" clId="{E614DB47-AF1B-46C5-99F6-F4D12F28B057}" dt="2024-04-25T10:44:20.659" v="386" actId="20577"/>
      <pc:docMkLst>
        <pc:docMk/>
      </pc:docMkLst>
      <pc:sldChg chg="addSp delSp modSp mod delAnim">
        <pc:chgData name="Damian Bąkowski" userId="148b5550-951f-4469-a424-8c0f930d3d0a" providerId="ADAL" clId="{E614DB47-AF1B-46C5-99F6-F4D12F28B057}" dt="2024-04-25T07:15:32.587" v="158" actId="6549"/>
        <pc:sldMkLst>
          <pc:docMk/>
          <pc:sldMk cId="1123231115" sldId="2134805478"/>
        </pc:sldMkLst>
        <pc:spChg chg="mod">
          <ac:chgData name="Damian Bąkowski" userId="148b5550-951f-4469-a424-8c0f930d3d0a" providerId="ADAL" clId="{E614DB47-AF1B-46C5-99F6-F4D12F28B057}" dt="2024-04-25T07:15:32.587" v="158" actId="6549"/>
          <ac:spMkLst>
            <pc:docMk/>
            <pc:sldMk cId="1123231115" sldId="2134805478"/>
            <ac:spMk id="5" creationId="{FDAAE502-6082-D14C-9D31-2E3F4BA95BE7}"/>
          </ac:spMkLst>
        </pc:spChg>
        <pc:spChg chg="mod">
          <ac:chgData name="Damian Bąkowski" userId="148b5550-951f-4469-a424-8c0f930d3d0a" providerId="ADAL" clId="{E614DB47-AF1B-46C5-99F6-F4D12F28B057}" dt="2024-04-25T06:52:15.751" v="39" actId="20577"/>
          <ac:spMkLst>
            <pc:docMk/>
            <pc:sldMk cId="1123231115" sldId="2134805478"/>
            <ac:spMk id="8" creationId="{9D4C8798-A194-EC28-2BEF-DF04FE07C2E4}"/>
          </ac:spMkLst>
        </pc:spChg>
        <pc:picChg chg="add mod">
          <ac:chgData name="Damian Bąkowski" userId="148b5550-951f-4469-a424-8c0f930d3d0a" providerId="ADAL" clId="{E614DB47-AF1B-46C5-99F6-F4D12F28B057}" dt="2024-04-25T07:13:28.522" v="144" actId="1076"/>
          <ac:picMkLst>
            <pc:docMk/>
            <pc:sldMk cId="1123231115" sldId="2134805478"/>
            <ac:picMk id="2" creationId="{A14820B9-BFF9-4DE0-CA50-2DD213AB7C05}"/>
          </ac:picMkLst>
        </pc:picChg>
        <pc:picChg chg="del">
          <ac:chgData name="Damian Bąkowski" userId="148b5550-951f-4469-a424-8c0f930d3d0a" providerId="ADAL" clId="{E614DB47-AF1B-46C5-99F6-F4D12F28B057}" dt="2024-04-25T07:13:24.120" v="142" actId="478"/>
          <ac:picMkLst>
            <pc:docMk/>
            <pc:sldMk cId="1123231115" sldId="2134805478"/>
            <ac:picMk id="15" creationId="{81CD9C4D-3127-4D55-1105-5E1E62F8187E}"/>
          </ac:picMkLst>
        </pc:picChg>
      </pc:sldChg>
      <pc:sldChg chg="addSp delSp modSp mod ord">
        <pc:chgData name="Damian Bąkowski" userId="148b5550-951f-4469-a424-8c0f930d3d0a" providerId="ADAL" clId="{E614DB47-AF1B-46C5-99F6-F4D12F28B057}" dt="2024-04-25T10:44:20.659" v="386" actId="20577"/>
        <pc:sldMkLst>
          <pc:docMk/>
          <pc:sldMk cId="3449206269" sldId="2145707184"/>
        </pc:sldMkLst>
        <pc:spChg chg="mod">
          <ac:chgData name="Damian Bąkowski" userId="148b5550-951f-4469-a424-8c0f930d3d0a" providerId="ADAL" clId="{E614DB47-AF1B-46C5-99F6-F4D12F28B057}" dt="2024-04-25T06:52:54.722" v="71" actId="6549"/>
          <ac:spMkLst>
            <pc:docMk/>
            <pc:sldMk cId="3449206269" sldId="2145707184"/>
            <ac:spMk id="5" creationId="{8F375C25-1736-50F9-E6AE-8DE8407244FB}"/>
          </ac:spMkLst>
        </pc:spChg>
        <pc:spChg chg="mod">
          <ac:chgData name="Damian Bąkowski" userId="148b5550-951f-4469-a424-8c0f930d3d0a" providerId="ADAL" clId="{E614DB47-AF1B-46C5-99F6-F4D12F28B057}" dt="2024-04-25T10:44:20.659" v="386" actId="20577"/>
          <ac:spMkLst>
            <pc:docMk/>
            <pc:sldMk cId="3449206269" sldId="2145707184"/>
            <ac:spMk id="19" creationId="{AA7A91DF-7A9D-6F92-E4DC-94C582E97BA2}"/>
          </ac:spMkLst>
        </pc:spChg>
        <pc:picChg chg="add mod">
          <ac:chgData name="Damian Bąkowski" userId="148b5550-951f-4469-a424-8c0f930d3d0a" providerId="ADAL" clId="{E614DB47-AF1B-46C5-99F6-F4D12F28B057}" dt="2024-04-25T07:16:14.991" v="162" actId="14100"/>
          <ac:picMkLst>
            <pc:docMk/>
            <pc:sldMk cId="3449206269" sldId="2145707184"/>
            <ac:picMk id="2" creationId="{E094C5BB-72B4-7175-107C-45BF22890738}"/>
          </ac:picMkLst>
        </pc:picChg>
        <pc:picChg chg="del">
          <ac:chgData name="Damian Bąkowski" userId="148b5550-951f-4469-a424-8c0f930d3d0a" providerId="ADAL" clId="{E614DB47-AF1B-46C5-99F6-F4D12F28B057}" dt="2024-04-25T07:12:50.217" v="137" actId="478"/>
          <ac:picMkLst>
            <pc:docMk/>
            <pc:sldMk cId="3449206269" sldId="2145707184"/>
            <ac:picMk id="20" creationId="{394FA58D-B73C-DFA7-E74A-974C6F69BDB4}"/>
          </ac:picMkLst>
        </pc:picChg>
      </pc:sldChg>
      <pc:sldChg chg="addSp delSp modSp add del mod">
        <pc:chgData name="Damian Bąkowski" userId="148b5550-951f-4469-a424-8c0f930d3d0a" providerId="ADAL" clId="{E614DB47-AF1B-46C5-99F6-F4D12F28B057}" dt="2024-04-25T07:16:21.509" v="163" actId="47"/>
        <pc:sldMkLst>
          <pc:docMk/>
          <pc:sldMk cId="2411309986" sldId="2147473439"/>
        </pc:sldMkLst>
        <pc:spChg chg="add mod">
          <ac:chgData name="Damian Bąkowski" userId="148b5550-951f-4469-a424-8c0f930d3d0a" providerId="ADAL" clId="{E614DB47-AF1B-46C5-99F6-F4D12F28B057}" dt="2024-04-25T07:11:59.241" v="124"/>
          <ac:spMkLst>
            <pc:docMk/>
            <pc:sldMk cId="2411309986" sldId="2147473439"/>
            <ac:spMk id="2" creationId="{101F4D4E-EEF7-61F6-6857-AD5AF099908A}"/>
          </ac:spMkLst>
        </pc:spChg>
        <pc:spChg chg="add mod">
          <ac:chgData name="Damian Bąkowski" userId="148b5550-951f-4469-a424-8c0f930d3d0a" providerId="ADAL" clId="{E614DB47-AF1B-46C5-99F6-F4D12F28B057}" dt="2024-04-25T07:11:59.241" v="124"/>
          <ac:spMkLst>
            <pc:docMk/>
            <pc:sldMk cId="2411309986" sldId="2147473439"/>
            <ac:spMk id="3" creationId="{F08FB571-30F3-DF5A-8B29-2D332E83C77A}"/>
          </ac:spMkLst>
        </pc:spChg>
        <pc:spChg chg="del">
          <ac:chgData name="Damian Bąkowski" userId="148b5550-951f-4469-a424-8c0f930d3d0a" providerId="ADAL" clId="{E614DB47-AF1B-46C5-99F6-F4D12F28B057}" dt="2024-04-25T07:11:31.342" v="123" actId="478"/>
          <ac:spMkLst>
            <pc:docMk/>
            <pc:sldMk cId="2411309986" sldId="2147473439"/>
            <ac:spMk id="5" creationId="{F0C5A048-1ADE-A8E0-5DE0-CCE72BD98D1D}"/>
          </ac:spMkLst>
        </pc:spChg>
        <pc:picChg chg="del">
          <ac:chgData name="Damian Bąkowski" userId="148b5550-951f-4469-a424-8c0f930d3d0a" providerId="ADAL" clId="{E614DB47-AF1B-46C5-99F6-F4D12F28B057}" dt="2024-04-25T07:11:28.861" v="122" actId="478"/>
          <ac:picMkLst>
            <pc:docMk/>
            <pc:sldMk cId="2411309986" sldId="2147473439"/>
            <ac:picMk id="7" creationId="{FD5D86D4-10BB-2FA2-69FB-F351DB3CD4AC}"/>
          </ac:picMkLst>
        </pc:picChg>
      </pc:sldChg>
      <pc:sldChg chg="addSp delSp modSp del mod">
        <pc:chgData name="Damian Bąkowski" userId="148b5550-951f-4469-a424-8c0f930d3d0a" providerId="ADAL" clId="{E614DB47-AF1B-46C5-99F6-F4D12F28B057}" dt="2024-04-25T07:16:22.483" v="164" actId="47"/>
        <pc:sldMkLst>
          <pc:docMk/>
          <pc:sldMk cId="3326941582" sldId="2147473450"/>
        </pc:sldMkLst>
        <pc:spChg chg="del">
          <ac:chgData name="Damian Bąkowski" userId="148b5550-951f-4469-a424-8c0f930d3d0a" providerId="ADAL" clId="{E614DB47-AF1B-46C5-99F6-F4D12F28B057}" dt="2024-04-25T07:12:26.038" v="126" actId="478"/>
          <ac:spMkLst>
            <pc:docMk/>
            <pc:sldMk cId="3326941582" sldId="2147473450"/>
            <ac:spMk id="7" creationId="{D35179A4-95E9-F50B-993A-E3823E2BF84B}"/>
          </ac:spMkLst>
        </pc:spChg>
        <pc:spChg chg="del mod">
          <ac:chgData name="Damian Bąkowski" userId="148b5550-951f-4469-a424-8c0f930d3d0a" providerId="ADAL" clId="{E614DB47-AF1B-46C5-99F6-F4D12F28B057}" dt="2024-04-25T07:12:44.086" v="135" actId="478"/>
          <ac:spMkLst>
            <pc:docMk/>
            <pc:sldMk cId="3326941582" sldId="2147473450"/>
            <ac:spMk id="8" creationId="{FF3F54E0-0BCF-4D3F-8657-BC9B116BE31D}"/>
          </ac:spMkLst>
        </pc:spChg>
        <pc:spChg chg="del">
          <ac:chgData name="Damian Bąkowski" userId="148b5550-951f-4469-a424-8c0f930d3d0a" providerId="ADAL" clId="{E614DB47-AF1B-46C5-99F6-F4D12F28B057}" dt="2024-04-25T07:12:37.300" v="131" actId="478"/>
          <ac:spMkLst>
            <pc:docMk/>
            <pc:sldMk cId="3326941582" sldId="2147473450"/>
            <ac:spMk id="9" creationId="{5480936A-0BD9-9A3E-BF46-E9F087E5CF89}"/>
          </ac:spMkLst>
        </pc:spChg>
        <pc:spChg chg="del">
          <ac:chgData name="Damian Bąkowski" userId="148b5550-951f-4469-a424-8c0f930d3d0a" providerId="ADAL" clId="{E614DB47-AF1B-46C5-99F6-F4D12F28B057}" dt="2024-04-25T07:12:38.980" v="132" actId="478"/>
          <ac:spMkLst>
            <pc:docMk/>
            <pc:sldMk cId="3326941582" sldId="2147473450"/>
            <ac:spMk id="10" creationId="{FB28C518-17E2-C5C1-2ACE-C7399127CE9E}"/>
          </ac:spMkLst>
        </pc:spChg>
        <pc:spChg chg="del">
          <ac:chgData name="Damian Bąkowski" userId="148b5550-951f-4469-a424-8c0f930d3d0a" providerId="ADAL" clId="{E614DB47-AF1B-46C5-99F6-F4D12F28B057}" dt="2024-04-25T07:12:27.683" v="127" actId="478"/>
          <ac:spMkLst>
            <pc:docMk/>
            <pc:sldMk cId="3326941582" sldId="2147473450"/>
            <ac:spMk id="16" creationId="{3045ADBC-6038-7B67-3FD7-8A92131326B3}"/>
          </ac:spMkLst>
        </pc:spChg>
        <pc:spChg chg="del">
          <ac:chgData name="Damian Bąkowski" userId="148b5550-951f-4469-a424-8c0f930d3d0a" providerId="ADAL" clId="{E614DB47-AF1B-46C5-99F6-F4D12F28B057}" dt="2024-04-25T07:12:37.300" v="131" actId="478"/>
          <ac:spMkLst>
            <pc:docMk/>
            <pc:sldMk cId="3326941582" sldId="2147473450"/>
            <ac:spMk id="19" creationId="{2E4CC662-C64D-FBDB-4C0D-A8DDD4C47331}"/>
          </ac:spMkLst>
        </pc:spChg>
        <pc:spChg chg="del">
          <ac:chgData name="Damian Bąkowski" userId="148b5550-951f-4469-a424-8c0f930d3d0a" providerId="ADAL" clId="{E614DB47-AF1B-46C5-99F6-F4D12F28B057}" dt="2024-04-25T07:12:23.916" v="125" actId="478"/>
          <ac:spMkLst>
            <pc:docMk/>
            <pc:sldMk cId="3326941582" sldId="2147473450"/>
            <ac:spMk id="42" creationId="{62CC1EFD-D68E-177A-1274-45E43B9AFA2B}"/>
          </ac:spMkLst>
        </pc:spChg>
        <pc:picChg chg="add del mod">
          <ac:chgData name="Damian Bąkowski" userId="148b5550-951f-4469-a424-8c0f930d3d0a" providerId="ADAL" clId="{E614DB47-AF1B-46C5-99F6-F4D12F28B057}" dt="2024-04-25T07:12:46.005" v="136" actId="14100"/>
          <ac:picMkLst>
            <pc:docMk/>
            <pc:sldMk cId="3326941582" sldId="2147473450"/>
            <ac:picMk id="12" creationId="{20B419B7-16C7-0B12-B80F-87D6110D5ECF}"/>
          </ac:picMkLst>
        </pc:pic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20" creationId="{DDDC6E3D-CA74-510B-0482-77045192E8B8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21" creationId="{AA844573-F131-590D-80E4-EB0AD790D25D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28" creationId="{319BCABE-7315-9C53-FA50-8D2F9B5DC99F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31" creationId="{108ABF31-8C11-C6B3-7FCF-B9B9447373A2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34" creationId="{DF874ACB-B3FB-24DB-72DB-8AC7DDE7F3E3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36" creationId="{E93976C2-3923-1765-59C5-6960A8C62ABF}"/>
          </ac:cxnSpMkLst>
        </pc:cxnChg>
      </pc:sldChg>
      <pc:sldMasterChg chg="delSldLayout">
        <pc:chgData name="Damian Bąkowski" userId="148b5550-951f-4469-a424-8c0f930d3d0a" providerId="ADAL" clId="{E614DB47-AF1B-46C5-99F6-F4D12F28B057}" dt="2024-04-25T07:16:22.483" v="164" actId="47"/>
        <pc:sldMasterMkLst>
          <pc:docMk/>
          <pc:sldMasterMk cId="3376739024" sldId="2147483707"/>
        </pc:sldMasterMkLst>
        <pc:sldLayoutChg chg="del">
          <pc:chgData name="Damian Bąkowski" userId="148b5550-951f-4469-a424-8c0f930d3d0a" providerId="ADAL" clId="{E614DB47-AF1B-46C5-99F6-F4D12F28B057}" dt="2024-04-25T07:16:22.483" v="164" actId="47"/>
          <pc:sldLayoutMkLst>
            <pc:docMk/>
            <pc:sldMasterMk cId="3376739024" sldId="2147483707"/>
            <pc:sldLayoutMk cId="2377011943" sldId="214748372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4E1124-64C4-43BB-93EE-0EA2A8F7C6A2}" type="datetimeFigureOut">
              <a:rPr lang="pl-PL" smtClean="0"/>
              <a:t>25.04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A7A84F-AA2D-49A0-A10B-1B4D8D89A1A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46305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755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A6EBD-C22D-5B0B-9CFF-E8BD86F04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59BF519E-DC65-64C8-EBE0-422177C737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5630A354-5B94-F614-A293-23E79A997E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E168D114-7E85-AC26-7B3D-E9AE5F49B2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4651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4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w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9" y="384840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7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7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54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83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0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048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21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86469" y="4576236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14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517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995467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4084832"/>
            <a:ext cx="1069259" cy="1878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1CE24-8CBC-2247-A805-6306576F917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183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640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099265" y="6360656"/>
            <a:ext cx="5993479" cy="288000"/>
          </a:xfrm>
          <a:prstGeom prst="rect">
            <a:avLst/>
          </a:prstGeom>
        </p:spPr>
        <p:txBody>
          <a:bodyPr/>
          <a:lstStyle/>
          <a:p>
            <a:pPr algn="ctr" defTabSz="103889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447800" y="6360656"/>
            <a:ext cx="574717" cy="288000"/>
          </a:xfrm>
          <a:prstGeom prst="rect">
            <a:avLst/>
          </a:prstGeom>
        </p:spPr>
        <p:txBody>
          <a:bodyPr/>
          <a:lstStyle/>
          <a:p>
            <a:fld id="{3E35ABA6-C3F5-4D43-9942-44A51C691B7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099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E1C3B5-8CE2-F35A-B275-71FCEE04B2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697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E1C3B5-8CE2-F35A-B275-71FCEE04B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>
            <a:extLst>
              <a:ext uri="{FF2B5EF4-FFF2-40B4-BE49-F238E27FC236}">
                <a16:creationId xmlns:a16="http://schemas.microsoft.com/office/drawing/2014/main" id="{61FC2BC5-8D51-7D49-B915-E95739D057BF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57F41F40-3550-1243-AE88-817EFD71E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135996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3200" b="1" i="0">
                <a:solidFill>
                  <a:srgbClr val="AA8F7F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5A90CA2-07D7-8647-A89F-93C81C0A5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949" y="1623327"/>
            <a:ext cx="4311249" cy="3704047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2735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B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C5D22D-0FFB-4A9F-C444-7AB1D7CCBB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265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C5D22D-0FFB-4A9F-C444-7AB1D7CCBB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en-US" smtClean="0"/>
              <a:pPr/>
              <a:t>4/25/2024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BB2A3744-44E6-A14D-8340-63CEA70F84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13" name="Tytuł 2">
            <a:extLst>
              <a:ext uri="{FF2B5EF4-FFF2-40B4-BE49-F238E27FC236}">
                <a16:creationId xmlns:a16="http://schemas.microsoft.com/office/drawing/2014/main" id="{3D6A2861-D9B4-C347-9FA4-97F2DF50A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4800" b="1" i="0">
                <a:solidFill>
                  <a:srgbClr val="174E42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10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6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087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293583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32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61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812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49" y="1833871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2277793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0806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6979"/>
            <a:ext cx="11137899" cy="4632805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9923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3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96496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0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342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5779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07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1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266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330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65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97284" y="4639298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F376364C-E58F-4446-BBA1-A83B92E1F8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81185" y="6437994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050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995466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4084832"/>
            <a:ext cx="1069259" cy="187869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0CCA5B3-96DE-7842-BD2F-DA463AD618F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22168" y="6173410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23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0920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4" progId="TCLayout.ActiveDocument.1">
                  <p:embed/>
                </p:oleObj>
              </mc:Choice>
              <mc:Fallback>
                <p:oleObj name="think-cell Slide" r:id="rId3" imgW="663" imgH="66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0400" y="1143003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72756" y="0"/>
            <a:ext cx="908049" cy="248101"/>
          </a:xfrm>
          <a:prstGeom prst="rect">
            <a:avLst/>
          </a:prstGeom>
        </p:spPr>
        <p:txBody>
          <a:bodyPr/>
          <a:lstStyle/>
          <a:p>
            <a:pPr defTabSz="1038925"/>
            <a:fld id="{876E4242-7A02-D347-868C-7102E2A10D49}" type="datetime1">
              <a:rPr lang="en-US" smtClean="0">
                <a:solidFill>
                  <a:srgbClr val="222222"/>
                </a:solidFill>
              </a:rPr>
              <a:pPr defTabSz="1038925"/>
              <a:t>4/25/2024</a:t>
            </a:fld>
            <a:endParaRPr lang="en-US">
              <a:solidFill>
                <a:srgbClr val="22222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60400" y="445931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5526291" y="6356354"/>
            <a:ext cx="1139428" cy="366183"/>
          </a:xfrm>
        </p:spPr>
        <p:txBody>
          <a:bodyPr/>
          <a:lstStyle/>
          <a:p>
            <a:pPr defTabSz="1038925"/>
            <a:fld id="{4C8A2398-00AD-E248-B160-42043925DF03}" type="slidenum">
              <a:rPr lang="sv-SE" smtClean="0"/>
              <a:pPr defTabSz="1038925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8381179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9970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8586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8CA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1835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304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519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50" y="1833872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640499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0113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397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5491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482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919B8AAE-4C3A-D14C-82A3-C0992EDD6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From capital goods to consumer goods 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406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A2A4CF4D-CA1F-7638-2C60-8B2355EC8E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6D697C5-548A-C779-6F75-2489F7B020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0400" y="1123954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BB779B-E244-C703-1380-0A5F131EF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426882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04819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ic_deep green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6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80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Q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>
            <a:extLst>
              <a:ext uri="{FF2B5EF4-FFF2-40B4-BE49-F238E27FC236}">
                <a16:creationId xmlns:a16="http://schemas.microsoft.com/office/drawing/2014/main" id="{F425BBE3-70E8-AB40-B5EC-B026E482CB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5165"/>
            <a:ext cx="12192000" cy="6913165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011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0BFB351C-3850-5346-A6D6-930A9CDCBC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000" y="0"/>
            <a:ext cx="12220687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1063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53147D59-7C3C-E44E-9A27-3BB2F9103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9156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37843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D97CCE72-7A24-9940-AC51-E3BD751A62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0380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7C3B0526-C831-D349-9F79-F75195D2A8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544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>
            <a:extLst>
              <a:ext uri="{FF2B5EF4-FFF2-40B4-BE49-F238E27FC236}">
                <a16:creationId xmlns:a16="http://schemas.microsoft.com/office/drawing/2014/main" id="{A0B5347D-3F33-E646-A7F8-32A7B6C52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5160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2AFD85A0-A976-3243-B403-41F1546E56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3473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79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170B531B-826F-D747-A425-AC32AE39C1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40F5E71-6A3D-1045-BF9E-184F46DE14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0FD0CD-988E-7B4E-935B-238AF71D61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219382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B870A0BC-82F3-3742-A519-757093B672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CA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9B806D15-780D-494D-9CE5-FDDF3F4F1F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DEF2E87E-38A6-8847-844D-DBD609F3CE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2E0C701-E789-FB4D-98D3-F72B504250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75FD2A2-0503-F04B-B43A-A6DF5DC126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614036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B870A0BC-82F3-3742-A519-757093B672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1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40F5E71-6A3D-1045-BF9E-184F46DE14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0FD0CD-988E-7B4E-935B-238AF71D61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AE0C031E-6E93-0641-B7FF-AA2B7397A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8842" y="2064254"/>
            <a:ext cx="3015423" cy="101453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A702B468-129E-EE42-A5BC-EC9C8AA2C2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16038" y="6413435"/>
            <a:ext cx="941029" cy="172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731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A_pale tau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FAF109F9-DDF4-8F47-BCB1-6C6C7C7024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10" name="Tytuł 2">
            <a:extLst>
              <a:ext uri="{FF2B5EF4-FFF2-40B4-BE49-F238E27FC236}">
                <a16:creationId xmlns:a16="http://schemas.microsoft.com/office/drawing/2014/main" id="{B069D9A5-9F21-8348-9664-F1C9F0A7B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11358573" cy="135996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3200" b="1" i="0">
                <a:solidFill>
                  <a:schemeClr val="bg1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pl-PL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E6D135D-7445-F341-8348-B2E5CA01F6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949" y="1623327"/>
            <a:ext cx="4311249" cy="370404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156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984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5333" b="1" i="0">
                <a:solidFill>
                  <a:schemeClr val="tx1"/>
                </a:solidFill>
                <a:latin typeface="+mn-lt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540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676980"/>
            <a:ext cx="11137899" cy="4632805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1679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4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163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2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0551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0078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45468404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8" imgH="347" progId="TCLayout.ActiveDocument.1">
                  <p:embed/>
                </p:oleObj>
              </mc:Choice>
              <mc:Fallback>
                <p:oleObj name="think-cell Slide" r:id="rId21" imgW="348" imgH="34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426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914354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7811989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22" imgH="623" progId="TCLayout.ActiveDocument.1">
                  <p:embed/>
                </p:oleObj>
              </mc:Choice>
              <mc:Fallback>
                <p:oleObj name="think-cell Slide" r:id="rId30" imgW="622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95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6739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1" r:id="rId13"/>
    <p:sldLayoutId id="2147483722" r:id="rId14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FDAAE502-6082-D14C-9D31-2E3F4BA9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>
                <a:solidFill>
                  <a:srgbClr val="FFFFFF"/>
                </a:solidFill>
                <a:latin typeface="+mj-lt"/>
                <a:cs typeface="Arial"/>
              </a:rPr>
              <a:t>Jak pozbyć się produktu </a:t>
            </a:r>
            <a:br>
              <a:rPr lang="pl-PL" sz="280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>
                <a:solidFill>
                  <a:srgbClr val="FFFFFF"/>
                </a:solidFill>
                <a:latin typeface="+mj-lt"/>
                <a:cs typeface="Arial"/>
              </a:rPr>
              <a:t>- Profim Revo</a:t>
            </a:r>
            <a:endParaRPr lang="pl-PL" sz="2800">
              <a:latin typeface="Arial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D3E6C6-C92A-9C49-83C9-47E6C5CCB950}"/>
              </a:ext>
            </a:extLst>
          </p:cNvPr>
          <p:cNvSpPr/>
          <p:nvPr/>
        </p:nvSpPr>
        <p:spPr>
          <a:xfrm>
            <a:off x="5172083" y="0"/>
            <a:ext cx="7019917" cy="60278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8977">
              <a:defRPr/>
            </a:pPr>
            <a:endParaRPr lang="pl-PL" sz="2045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9D4C8798-A194-EC28-2BEF-DF04FE07C2E4}"/>
              </a:ext>
            </a:extLst>
          </p:cNvPr>
          <p:cNvSpPr txBox="1"/>
          <p:nvPr/>
        </p:nvSpPr>
        <p:spPr>
          <a:xfrm>
            <a:off x="388153" y="1455814"/>
            <a:ext cx="4585903" cy="365747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i="1">
                <a:solidFill>
                  <a:schemeClr val="bg1"/>
                </a:solidFill>
              </a:rPr>
              <a:t>Uwaga</a:t>
            </a:r>
            <a:r>
              <a:rPr lang="en-US" i="1">
                <a:solidFill>
                  <a:schemeClr val="bg1"/>
                </a:solidFill>
              </a:rPr>
              <a:t>: T</a:t>
            </a:r>
            <a:r>
              <a:rPr lang="pl-PL" i="1">
                <a:solidFill>
                  <a:schemeClr val="bg1"/>
                </a:solidFill>
              </a:rPr>
              <a:t>en produkt został zaprojektowany z myślą o łatwym demontażu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>
                <a:solidFill>
                  <a:schemeClr val="bg1"/>
                </a:solidFill>
              </a:rPr>
              <a:t>Oceń stan mebla</a:t>
            </a:r>
            <a:r>
              <a:rPr lang="pl-PL" b="1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sz="1400" i="1">
                <a:solidFill>
                  <a:schemeClr val="bg1"/>
                </a:solidFill>
              </a:rPr>
              <a:t>Flokk </a:t>
            </a:r>
            <a:r>
              <a:rPr lang="pl-PL" sz="1400" i="1">
                <a:solidFill>
                  <a:schemeClr val="bg1"/>
                </a:solidFill>
              </a:rPr>
              <a:t>dostarcza części zamienne umożliwiające łatwą wymianę zużytych podzespołów.</a:t>
            </a:r>
            <a:endParaRPr lang="pl-PL" sz="1400" b="1">
              <a:solidFill>
                <a:schemeClr val="bg1"/>
              </a:solidFill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2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>
                <a:solidFill>
                  <a:schemeClr val="bg1"/>
                </a:solidFill>
              </a:rPr>
              <a:t>Rozważ darowiznę lub sprzedaż, </a:t>
            </a:r>
            <a:br>
              <a:rPr lang="pl-PL" b="1" u="sng">
                <a:solidFill>
                  <a:schemeClr val="bg1"/>
                </a:solidFill>
              </a:rPr>
            </a:br>
            <a:r>
              <a:rPr lang="pl-PL" b="1" u="sng">
                <a:solidFill>
                  <a:schemeClr val="bg1"/>
                </a:solidFill>
              </a:rPr>
              <a:t>jeśli jest w dobrym stanie</a:t>
            </a:r>
            <a:r>
              <a:rPr lang="en-US" b="1" u="sng">
                <a:solidFill>
                  <a:schemeClr val="bg1"/>
                </a:solidFill>
              </a:rPr>
              <a:t>.</a:t>
            </a:r>
            <a:endParaRPr lang="pl-PL" b="1" u="sng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>
                <a:solidFill>
                  <a:schemeClr val="bg1"/>
                </a:solidFill>
              </a:rPr>
              <a:t>     </a:t>
            </a:r>
            <a:endParaRPr lang="pl-PL" sz="1400" i="1">
              <a:solidFill>
                <a:schemeClr val="bg1"/>
              </a:solidFill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A14820B9-BFF9-4DE0-CA50-2DD213AB7C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42" b="7489"/>
          <a:stretch/>
        </p:blipFill>
        <p:spPr bwMode="auto">
          <a:xfrm>
            <a:off x="5172082" y="0"/>
            <a:ext cx="7019917" cy="602787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32311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B61FD-48F3-90EC-1681-C9C4A716B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8F375C25-1736-50F9-E6AE-8DE840724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>
                <a:solidFill>
                  <a:srgbClr val="FFFFFF"/>
                </a:solidFill>
                <a:latin typeface="+mj-lt"/>
                <a:cs typeface="Arial"/>
              </a:rPr>
              <a:t>Jak pozbyć się produktu </a:t>
            </a:r>
            <a:br>
              <a:rPr lang="pl-PL" sz="280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>
                <a:solidFill>
                  <a:srgbClr val="FFFFFF"/>
                </a:solidFill>
                <a:latin typeface="+mj-lt"/>
                <a:cs typeface="Arial"/>
              </a:rPr>
              <a:t>- Profim Revo</a:t>
            </a:r>
            <a:endParaRPr lang="pl-PL" sz="2800">
              <a:latin typeface="Arial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AA7A91DF-7A9D-6F92-E4DC-94C582E97BA2}"/>
              </a:ext>
            </a:extLst>
          </p:cNvPr>
          <p:cNvSpPr txBox="1"/>
          <p:nvPr/>
        </p:nvSpPr>
        <p:spPr>
          <a:xfrm>
            <a:off x="388153" y="1455814"/>
            <a:ext cx="4585903" cy="453463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i="1">
                <a:solidFill>
                  <a:schemeClr val="bg1"/>
                </a:solidFill>
              </a:rPr>
              <a:t>Uwaga</a:t>
            </a:r>
            <a:r>
              <a:rPr lang="en-US" i="1">
                <a:solidFill>
                  <a:schemeClr val="bg1"/>
                </a:solidFill>
              </a:rPr>
              <a:t>: T</a:t>
            </a:r>
            <a:r>
              <a:rPr lang="pl-PL" i="1">
                <a:solidFill>
                  <a:schemeClr val="bg1"/>
                </a:solidFill>
              </a:rPr>
              <a:t>en produkt został zaprojektowany z myślą o łatwym demontażu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Font typeface="+mj-lt"/>
              <a:buAutoNum type="arabicPeriod" startAt="3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>
                <a:solidFill>
                  <a:schemeClr val="bg1"/>
                </a:solidFill>
              </a:rPr>
              <a:t>RECY</a:t>
            </a:r>
            <a:r>
              <a:rPr lang="pl-PL" b="1" u="sng">
                <a:solidFill>
                  <a:schemeClr val="bg1"/>
                </a:solidFill>
              </a:rPr>
              <a:t>K</a:t>
            </a:r>
            <a:r>
              <a:rPr lang="en-US" b="1" u="sng">
                <a:solidFill>
                  <a:schemeClr val="bg1"/>
                </a:solidFill>
              </a:rPr>
              <a:t>LING – </a:t>
            </a:r>
            <a:r>
              <a:rPr lang="pl-PL" b="1" u="sng">
                <a:solidFill>
                  <a:schemeClr val="bg1"/>
                </a:solidFill>
              </a:rPr>
              <a:t>rozłóż produkt na osobne materiały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sz="1400" i="1">
                <a:solidFill>
                  <a:schemeClr val="bg1"/>
                </a:solidFill>
              </a:rPr>
              <a:t>Recykling jest najlepsza opcja dla tego produktu, łatwość w odseparowaniu różnych materiałów od siebie pozwala łatwo je segregować.</a:t>
            </a:r>
            <a:endParaRPr lang="pl-PL" sz="1400" b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4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>
                <a:solidFill>
                  <a:schemeClr val="bg1"/>
                </a:solidFill>
              </a:rPr>
              <a:t>Oddaj </a:t>
            </a:r>
            <a:r>
              <a:rPr lang="en-US" b="1" u="sng">
                <a:solidFill>
                  <a:schemeClr val="bg1"/>
                </a:solidFill>
              </a:rPr>
              <a:t>/ </a:t>
            </a:r>
            <a:r>
              <a:rPr lang="pl-PL" b="1" u="sng">
                <a:solidFill>
                  <a:schemeClr val="bg1"/>
                </a:solidFill>
              </a:rPr>
              <a:t>skontaktuj się z lokalnym zakładem zajmującym się gospodarką odpadami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sz="1400" i="1">
                <a:solidFill>
                  <a:schemeClr val="bg1"/>
                </a:solidFill>
              </a:rPr>
              <a:t>W przypadku uszkodzenia produktu lub braku możliwości jego demontażu należy skontaktować się z lokalnym przedsiębiorstwem zajmującym się gospodarka odpadami.</a:t>
            </a:r>
            <a:endParaRPr lang="pl-PL" sz="1400" b="1" u="sng">
              <a:solidFill>
                <a:schemeClr val="bg1"/>
              </a:solidFill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E094C5BB-72B4-7175-107C-45BF228907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1120" y="1"/>
            <a:ext cx="7040879" cy="6028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206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2.xml><?xml version="1.0" encoding="utf-8"?>
<a:theme xmlns:a="http://schemas.openxmlformats.org/drawingml/2006/main" name="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3.xml><?xml version="1.0" encoding="utf-8"?>
<a:theme xmlns:a="http://schemas.openxmlformats.org/drawingml/2006/main" name="COVER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3E2D064B85354E8B61AF8BACE93875" ma:contentTypeVersion="11" ma:contentTypeDescription="Create a new document." ma:contentTypeScope="" ma:versionID="8f13976fabbd7f12c4537e06d6de36ef">
  <xsd:schema xmlns:xsd="http://www.w3.org/2001/XMLSchema" xmlns:xs="http://www.w3.org/2001/XMLSchema" xmlns:p="http://schemas.microsoft.com/office/2006/metadata/properties" xmlns:ns2="292b8c96-74c9-4f3e-9693-f229e7f0d5d0" xmlns:ns3="9ec24231-af33-4393-8b25-009bc2e7ca9e" targetNamespace="http://schemas.microsoft.com/office/2006/metadata/properties" ma:root="true" ma:fieldsID="11f81f9b5114867b6dd7e1ba947a712b" ns2:_="" ns3:_="">
    <xsd:import namespace="292b8c96-74c9-4f3e-9693-f229e7f0d5d0"/>
    <xsd:import namespace="9ec24231-af33-4393-8b25-009bc2e7ca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b8c96-74c9-4f3e-9693-f229e7f0d5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79a2a56f-892c-47f2-b04f-7c4cdc3e1d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c24231-af33-4393-8b25-009bc2e7ca9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92b15786-3bfa-4160-a789-5119474edc38}" ma:internalName="TaxCatchAll" ma:showField="CatchAllData" ma:web="9ec24231-af33-4393-8b25-009bc2e7ca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ec24231-af33-4393-8b25-009bc2e7ca9e" xsi:nil="true"/>
    <lcf76f155ced4ddcb4097134ff3c332f xmlns="292b8c96-74c9-4f3e-9693-f229e7f0d5d0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2B35DF-45E8-4369-AC5D-4043D7112907}">
  <ds:schemaRefs>
    <ds:schemaRef ds:uri="292b8c96-74c9-4f3e-9693-f229e7f0d5d0"/>
    <ds:schemaRef ds:uri="9ec24231-af33-4393-8b25-009bc2e7ca9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FD4971E-65BE-4043-80FF-CBAF37FE4848}">
  <ds:schemaRefs>
    <ds:schemaRef ds:uri="292b8c96-74c9-4f3e-9693-f229e7f0d5d0"/>
    <ds:schemaRef ds:uri="9ec24231-af33-4393-8b25-009bc2e7ca9e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C30911B-E196-45B3-9459-1DF3554558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</Slides>
  <Notes>2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</vt:i4>
      </vt:variant>
    </vt:vector>
  </HeadingPairs>
  <TitlesOfParts>
    <vt:vector size="5" baseType="lpstr">
      <vt:lpstr>18_Flokk</vt:lpstr>
      <vt:lpstr>Flokk</vt:lpstr>
      <vt:lpstr>COVER</vt:lpstr>
      <vt:lpstr>Jak pozbyć się produktu  - Profim Revo</vt:lpstr>
      <vt:lpstr>Jak pozbyć się produktu  - Profim Rev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dispose of chair  - Profim Normo</dc:title>
  <dc:creator>Damian Bąkowski</dc:creator>
  <cp:revision>1</cp:revision>
  <dcterms:created xsi:type="dcterms:W3CDTF">2024-03-06T10:07:21Z</dcterms:created>
  <dcterms:modified xsi:type="dcterms:W3CDTF">2024-04-25T10:4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3E2D064B85354E8B61AF8BACE93875</vt:lpwstr>
  </property>
  <property fmtid="{D5CDD505-2E9C-101B-9397-08002B2CF9AE}" pid="3" name="MediaServiceImageTags">
    <vt:lpwstr/>
  </property>
</Properties>
</file>